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9" r:id="rId2"/>
    <p:sldId id="268" r:id="rId3"/>
    <p:sldId id="266" r:id="rId4"/>
    <p:sldId id="267" r:id="rId5"/>
  </p:sldIdLst>
  <p:sldSz cx="12192000" cy="6858000"/>
  <p:notesSz cx="6858000" cy="9144000"/>
  <p:custDataLst>
    <p:tags r:id="rId8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lipe Soares" initials="FS" lastIdx="1" clrIdx="0">
    <p:extLst>
      <p:ext uri="{19B8F6BF-5375-455C-9EA6-DF929625EA0E}">
        <p15:presenceInfo xmlns:p15="http://schemas.microsoft.com/office/powerpoint/2012/main" userId="S-1-5-21-3091030543-3730522216-4267169121-66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95B"/>
    <a:srgbClr val="8B8C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6" autoAdjust="0"/>
    <p:restoredTop sz="94660"/>
  </p:normalViewPr>
  <p:slideViewPr>
    <p:cSldViewPr snapToGrid="0" showGuides="1">
      <p:cViewPr>
        <p:scale>
          <a:sx n="75" d="100"/>
          <a:sy n="75" d="100"/>
        </p:scale>
        <p:origin x="749" y="403"/>
      </p:cViewPr>
      <p:guideLst>
        <p:guide orient="horz" pos="2160"/>
        <p:guide pos="3840"/>
        <p:guide pos="23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9" d="100"/>
          <a:sy n="69" d="100"/>
        </p:scale>
        <p:origin x="2990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xmlns="" id="{C1E0D5BE-5C50-4AB6-BAB2-5023FA4539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08673636-05DE-42C3-A72B-88BBEFD6539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DA4370-5183-45C5-A6E2-981DF520AFF4}" type="datetimeFigureOut">
              <a:rPr lang="en-US" smtClean="0"/>
              <a:t>10/15/2023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45C104F4-FC6C-4EA4-B2CE-737B5C62202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F6AEE9A4-05A9-45B9-B483-F206C8793AE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354825-5B59-4864-86B8-D2F7ADA6533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8220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9C5D4C-A211-4F21-ACF2-EBDF7CB0E144}" type="datetimeFigureOut">
              <a:rPr lang="en-US" smtClean="0"/>
              <a:t>10/15/2023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1BB7E-9ED5-4A7C-A0CB-753D7437DC8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023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E1BB7E-9ED5-4A7C-A0CB-753D7437DC8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2209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xmlns="" id="{A13BFAD3-7B96-4D73-B827-CFE2DC9BC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8280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97E2402-5932-4C73-A564-DA0F0B69E4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3525" y="483766"/>
            <a:ext cx="11656807" cy="641771"/>
          </a:xfrm>
        </p:spPr>
        <p:txBody>
          <a:bodyPr vert="horz" anchor="t">
            <a:normAutofit/>
          </a:bodyPr>
          <a:lstStyle>
            <a:lvl1pPr algn="l">
              <a:defRPr sz="20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Titulo</a:t>
            </a:r>
            <a:br>
              <a:rPr lang="pt-BR" dirty="0"/>
            </a:br>
            <a:r>
              <a:rPr lang="pt-BR" dirty="0"/>
              <a:t>do slide</a:t>
            </a:r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xmlns="" id="{014D260E-C58D-4A9C-B2FE-06A2EF3ABC7F}"/>
              </a:ext>
            </a:extLst>
          </p:cNvPr>
          <p:cNvCxnSpPr/>
          <p:nvPr userDrawn="1"/>
        </p:nvCxnSpPr>
        <p:spPr>
          <a:xfrm>
            <a:off x="271667" y="6529380"/>
            <a:ext cx="116552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>
            <a:extLst>
              <a:ext uri="{FF2B5EF4-FFF2-40B4-BE49-F238E27FC236}">
                <a16:creationId xmlns:a16="http://schemas.microsoft.com/office/drawing/2014/main" xmlns="" id="{75EDF841-6611-43D1-8A36-291CFC47142E}"/>
              </a:ext>
            </a:extLst>
          </p:cNvPr>
          <p:cNvSpPr txBox="1"/>
          <p:nvPr userDrawn="1"/>
        </p:nvSpPr>
        <p:spPr>
          <a:xfrm>
            <a:off x="194733" y="6585707"/>
            <a:ext cx="60706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774009 - Apresentação da Evolução do Projeto de Formatura (1) – 16/10/2023</a:t>
            </a:r>
          </a:p>
        </p:txBody>
      </p:sp>
      <p:pic>
        <p:nvPicPr>
          <p:cNvPr id="1026" name="Picture 2" descr="Identidade visual da Escola Politécnica da USP – ESCOLA POLITÉCNICA">
            <a:extLst>
              <a:ext uri="{FF2B5EF4-FFF2-40B4-BE49-F238E27FC236}">
                <a16:creationId xmlns:a16="http://schemas.microsoft.com/office/drawing/2014/main" xmlns="" id="{61BB95BE-8527-4EB9-A85D-F4844B72BC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6756" y="6628386"/>
            <a:ext cx="725540" cy="13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ais Notícias… – Página: 2 – PCS">
            <a:extLst>
              <a:ext uri="{FF2B5EF4-FFF2-40B4-BE49-F238E27FC236}">
                <a16:creationId xmlns:a16="http://schemas.microsoft.com/office/drawing/2014/main" xmlns="" id="{9F79E4C0-2DED-4D26-85F7-35663F75BF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961" y="6564481"/>
            <a:ext cx="547611" cy="257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Espaço Reservado para Número de Slide 5">
            <a:extLst>
              <a:ext uri="{FF2B5EF4-FFF2-40B4-BE49-F238E27FC236}">
                <a16:creationId xmlns:a16="http://schemas.microsoft.com/office/drawing/2014/main" xmlns="" id="{7DEE4A19-31F0-48D1-810F-5191104712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7300" y="6528859"/>
            <a:ext cx="503032" cy="3291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A9E32BD-B201-4C38-96C4-D961A395C03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0" hasCustomPrompt="1"/>
          </p:nvPr>
        </p:nvSpPr>
        <p:spPr>
          <a:xfrm>
            <a:off x="271667" y="247534"/>
            <a:ext cx="4873958" cy="2262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rdware de consoles de video gam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2921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166" userDrawn="1">
          <p15:clr>
            <a:srgbClr val="FBAE40"/>
          </p15:clr>
        </p15:guide>
        <p15:guide id="3" pos="7514" userDrawn="1">
          <p15:clr>
            <a:srgbClr val="FBAE40"/>
          </p15:clr>
        </p15:guide>
        <p15:guide id="4" orient="horz" pos="709" userDrawn="1">
          <p15:clr>
            <a:srgbClr val="FBAE40"/>
          </p15:clr>
        </p15:guide>
        <p15:guide id="5" orient="horz" pos="300" userDrawn="1">
          <p15:clr>
            <a:srgbClr val="FBAE40"/>
          </p15:clr>
        </p15:guide>
        <p15:guide id="6" orient="horz" pos="119" userDrawn="1">
          <p15:clr>
            <a:srgbClr val="FBAE40"/>
          </p15:clr>
        </p15:guide>
        <p15:guide id="7" orient="horz" pos="41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xmlns="" id="{B32220DB-6DC5-4776-BED7-F90822A9F2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21580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xmlns="" id="{F4A82ECC-059F-4269-984F-F2D08B642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903C63B6-1814-4A98-8879-8C5DD8C875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48A1342B-6405-4F8D-B504-9DB89AD7B1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011F34C0-D96E-4092-8FDF-F11FE5FBA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6BA6D5CB-7F34-44D3-8872-5DFDCD31DF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9E32BD-B201-4C38-96C4-D961A395C03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37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xmlns="" id="{E76C80B1-3933-43E8-9678-8166DEEB53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335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05601675-1D59-4D59-8625-E407938A162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902C35F6-9D83-4CFE-B37E-C8529A48514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71667" y="146465"/>
            <a:ext cx="11648665" cy="318052"/>
          </a:xfrm>
        </p:spPr>
        <p:txBody>
          <a:bodyPr>
            <a:normAutofit fontScale="70000" lnSpcReduction="20000"/>
          </a:bodyPr>
          <a:lstStyle/>
          <a:p>
            <a:endParaRPr lang="en-US" dirty="0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62991C85-5335-4F1C-BE32-4F2F033BAAD0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3624E86A-C69E-46D7-A612-797856457E50}"/>
              </a:ext>
            </a:extLst>
          </p:cNvPr>
          <p:cNvSpPr txBox="1"/>
          <p:nvPr/>
        </p:nvSpPr>
        <p:spPr>
          <a:xfrm>
            <a:off x="346308" y="2192239"/>
            <a:ext cx="3130409" cy="123110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luno: Filipe Soares,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0774009</a:t>
            </a:r>
            <a:endParaRPr lang="pt-BR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rientador: Prof. Dr. Arthur Jordão</a:t>
            </a:r>
          </a:p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ngenharia </a:t>
            </a: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de Computação</a:t>
            </a:r>
          </a:p>
          <a:p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li-USP</a:t>
            </a:r>
            <a:endParaRPr lang="pt-BR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6 de outubro de 2023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xmlns="" id="{69A0F705-5756-4F50-9290-15A9C22B8818}"/>
              </a:ext>
            </a:extLst>
          </p:cNvPr>
          <p:cNvCxnSpPr>
            <a:cxnSpLocks/>
          </p:cNvCxnSpPr>
          <p:nvPr/>
        </p:nvCxnSpPr>
        <p:spPr>
          <a:xfrm>
            <a:off x="-280219" y="4681444"/>
            <a:ext cx="1220055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F957B334-54D5-43D9-A88F-20B6EE525C2A}"/>
              </a:ext>
            </a:extLst>
          </p:cNvPr>
          <p:cNvSpPr txBox="1"/>
          <p:nvPr/>
        </p:nvSpPr>
        <p:spPr>
          <a:xfrm>
            <a:off x="362039" y="1130974"/>
            <a:ext cx="1041661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pt-BR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esentação da Evolução do Projeto </a:t>
            </a:r>
            <a:r>
              <a:rPr lang="pt-BR" sz="24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Formatura (1)</a:t>
            </a:r>
            <a:endParaRPr lang="pt-BR" sz="24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2" descr="Mais Notícias… – Página: 2 – PCS">
            <a:extLst>
              <a:ext uri="{FF2B5EF4-FFF2-40B4-BE49-F238E27FC236}">
                <a16:creationId xmlns:a16="http://schemas.microsoft.com/office/drawing/2014/main" xmlns="" id="{5DE9A16D-4D9D-460C-ACAE-B4BB5BDB4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1207" y="4842914"/>
            <a:ext cx="1111573" cy="523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Identidade visual da Escola Politécnica da USP – ESCOLA POLITÉCNICA">
            <a:extLst>
              <a:ext uri="{FF2B5EF4-FFF2-40B4-BE49-F238E27FC236}">
                <a16:creationId xmlns:a16="http://schemas.microsoft.com/office/drawing/2014/main" xmlns="" id="{DEF4FBC4-C16C-4137-A68A-0250A41CC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2716" y="4974998"/>
            <a:ext cx="1444814" cy="25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42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40000" lnSpcReduction="20000"/>
          </a:bodyPr>
          <a:lstStyle/>
          <a:p>
            <a:r>
              <a:rPr lang="pt-BR" dirty="0" smtClean="0"/>
              <a:t>Contextualiza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53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09984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9E32BD-B201-4C38-96C4-D961A395C03A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35489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McKinsey">
      <a:dk1>
        <a:srgbClr val="58595B"/>
      </a:dk1>
      <a:lt1>
        <a:srgbClr val="FFFFFF"/>
      </a:lt1>
      <a:dk2>
        <a:srgbClr val="073240"/>
      </a:dk2>
      <a:lt2>
        <a:srgbClr val="216767"/>
      </a:lt2>
      <a:accent1>
        <a:srgbClr val="0F6580"/>
      </a:accent1>
      <a:accent2>
        <a:srgbClr val="1585A6"/>
      </a:accent2>
      <a:accent3>
        <a:srgbClr val="3CCAF6"/>
      </a:accent3>
      <a:accent4>
        <a:srgbClr val="94DCF6"/>
      </a:accent4>
      <a:accent5>
        <a:srgbClr val="D8D8D8"/>
      </a:accent5>
      <a:accent6>
        <a:srgbClr val="F2F2F2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8</TotalTime>
  <Words>38</Words>
  <Application>Microsoft Office PowerPoint</Application>
  <PresentationFormat>Widescreen</PresentationFormat>
  <Paragraphs>11</Paragraphs>
  <Slides>4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8" baseType="lpstr">
      <vt:lpstr>Arial</vt:lpstr>
      <vt:lpstr>Calibri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ilipe Soares</dc:creator>
  <cp:lastModifiedBy>Conta da Microsoft</cp:lastModifiedBy>
  <cp:revision>55</cp:revision>
  <dcterms:created xsi:type="dcterms:W3CDTF">2021-06-21T17:14:37Z</dcterms:created>
  <dcterms:modified xsi:type="dcterms:W3CDTF">2023-10-15T19:18:43Z</dcterms:modified>
</cp:coreProperties>
</file>